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4" r:id="rId10"/>
    <p:sldId id="266" r:id="rId11"/>
    <p:sldId id="265" r:id="rId1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33" d="100"/>
          <a:sy n="133" d="100"/>
        </p:scale>
        <p:origin x="-138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4.emf"/><Relationship Id="rId5" Type="http://schemas.openxmlformats.org/officeDocument/2006/relationships/tags" Target="../tags/tag7.xml"/><Relationship Id="rId10" Type="http://schemas.openxmlformats.org/officeDocument/2006/relationships/image" Target="../media/image3.emf"/><Relationship Id="rId4" Type="http://schemas.openxmlformats.org/officeDocument/2006/relationships/tags" Target="../tags/tag6.xml"/><Relationship Id="rId9" Type="http://schemas.openxmlformats.org/officeDocument/2006/relationships/image" Target="../media/image7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835762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258899" y="1071535"/>
            <a:ext cx="8628096" cy="1740512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6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8898" y="3064781"/>
            <a:ext cx="8628096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7"/>
          <a:srcRect r="70680"/>
          <a:stretch>
            <a:fillRect/>
          </a:stretch>
        </p:blipFill>
        <p:spPr>
          <a:xfrm>
            <a:off x="258123" y="4489011"/>
            <a:ext cx="877716" cy="397182"/>
          </a:xfrm>
          <a:prstGeom prst="rect">
            <a:avLst/>
          </a:prstGeom>
        </p:spPr>
      </p:pic>
      <p:pic>
        <p:nvPicPr>
          <p:cNvPr id="37" name="Grafik 36" descr="T_Logo_3c_Slogan_p_DE_1000%.emf"/>
          <p:cNvPicPr>
            <a:picLocks noChangeAspect="1"/>
          </p:cNvPicPr>
          <p:nvPr userDrawn="1"/>
        </p:nvPicPr>
        <p:blipFill>
          <a:blip r:embed="rId7"/>
          <a:srcRect l="40365"/>
          <a:stretch>
            <a:fillRect/>
          </a:stretch>
        </p:blipFill>
        <p:spPr>
          <a:xfrm>
            <a:off x="7098988" y="4489011"/>
            <a:ext cx="1785244" cy="39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99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Flächenmod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553321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257129" y="2339984"/>
            <a:ext cx="8628096" cy="1775321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257131" y="1462018"/>
            <a:ext cx="8266331" cy="2653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257131" y="1709109"/>
            <a:ext cx="7713703" cy="2406196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 smtClean="0"/>
              <a:t>TELEGROTESK Headline (ULTRA)</a:t>
            </a:r>
            <a:br>
              <a:rPr lang="de-DE" sz="4800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0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7011" y="3600353"/>
            <a:ext cx="7713822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</a:t>
            </a:r>
            <a:r>
              <a:rPr lang="de-DE" dirty="0" err="1" smtClean="0"/>
              <a:t>TeleGrotesk</a:t>
            </a:r>
            <a:r>
              <a:rPr lang="de-DE" dirty="0" smtClean="0"/>
              <a:t>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36" name="Grafik 35" descr="T_Logo_3c_Slogan_p_DE_1000%.emf"/>
          <p:cNvPicPr>
            <a:picLocks noChangeAspect="1"/>
          </p:cNvPicPr>
          <p:nvPr userDrawn="1"/>
        </p:nvPicPr>
        <p:blipFill>
          <a:blip r:embed="rId7"/>
          <a:srcRect r="67770"/>
          <a:stretch>
            <a:fillRect/>
          </a:stretch>
        </p:blipFill>
        <p:spPr>
          <a:xfrm>
            <a:off x="257131" y="4489011"/>
            <a:ext cx="965475" cy="397182"/>
          </a:xfrm>
          <a:prstGeom prst="rect">
            <a:avLst/>
          </a:prstGeom>
        </p:spPr>
      </p:pic>
      <p:pic>
        <p:nvPicPr>
          <p:cNvPr id="37" name="Grafik 36" descr="T_Logo_3c_Slogan_p_DE_1000%.emf"/>
          <p:cNvPicPr>
            <a:picLocks noChangeAspect="1"/>
          </p:cNvPicPr>
          <p:nvPr userDrawn="1"/>
        </p:nvPicPr>
        <p:blipFill>
          <a:blip r:embed="rId7"/>
          <a:srcRect l="40898"/>
          <a:stretch>
            <a:fillRect/>
          </a:stretch>
        </p:blipFill>
        <p:spPr>
          <a:xfrm>
            <a:off x="7114765" y="4489011"/>
            <a:ext cx="1770461" cy="39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2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578871"/>
              </p:ext>
            </p:extLst>
          </p:nvPr>
        </p:nvGraphicFramePr>
        <p:xfrm>
          <a:off x="1260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0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Grafik 41" descr="TKOM_39L_Grillen_7475.jpg"/>
          <p:cNvPicPr>
            <a:picLocks noChangeAspect="1"/>
          </p:cNvPicPr>
          <p:nvPr userDrawn="1"/>
        </p:nvPicPr>
        <p:blipFill>
          <a:blip r:embed="rId9"/>
          <a:srcRect b="15715"/>
          <a:stretch>
            <a:fillRect/>
          </a:stretch>
        </p:blipFill>
        <p:spPr>
          <a:xfrm>
            <a:off x="1" y="2"/>
            <a:ext cx="9142353" cy="5143500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257130" y="2341163"/>
            <a:ext cx="8628855" cy="2545289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de-DE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257011" y="2540249"/>
            <a:ext cx="7846147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</a:t>
            </a:r>
            <a:r>
              <a:rPr kumimoji="0" lang="de-DE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pt</a:t>
            </a: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7012" y="3600353"/>
            <a:ext cx="7846146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Grafik 40" descr="T_Logo_3c_Slogan_p_DE_1000%.emf"/>
          <p:cNvPicPr>
            <a:picLocks noChangeAspect="1"/>
          </p:cNvPicPr>
          <p:nvPr userDrawn="1"/>
        </p:nvPicPr>
        <p:blipFill>
          <a:blip r:embed="rId11"/>
          <a:srcRect r="70680"/>
          <a:stretch>
            <a:fillRect/>
          </a:stretch>
        </p:blipFill>
        <p:spPr>
          <a:xfrm>
            <a:off x="391814" y="4351263"/>
            <a:ext cx="877716" cy="397182"/>
          </a:xfrm>
          <a:prstGeom prst="rect">
            <a:avLst/>
          </a:prstGeom>
        </p:spPr>
      </p:pic>
      <p:pic>
        <p:nvPicPr>
          <p:cNvPr id="43" name="Grafik 42" descr="T_Logo_3c_Slogan_p_DE_1000%.emf"/>
          <p:cNvPicPr>
            <a:picLocks noChangeAspect="1"/>
          </p:cNvPicPr>
          <p:nvPr userDrawn="1"/>
        </p:nvPicPr>
        <p:blipFill>
          <a:blip r:embed="rId11"/>
          <a:srcRect l="40365"/>
          <a:stretch>
            <a:fillRect/>
          </a:stretch>
        </p:blipFill>
        <p:spPr>
          <a:xfrm>
            <a:off x="6961905" y="4351263"/>
            <a:ext cx="1785244" cy="39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09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263047"/>
              </p:ext>
            </p:extLst>
          </p:nvPr>
        </p:nvGraphicFramePr>
        <p:xfrm>
          <a:off x="1260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0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Grafik 42" descr="TKOM_39L_Grillen_7475.jpg"/>
          <p:cNvPicPr>
            <a:picLocks noChangeAspect="1"/>
          </p:cNvPicPr>
          <p:nvPr userDrawn="1"/>
        </p:nvPicPr>
        <p:blipFill>
          <a:blip r:embed="rId6"/>
          <a:srcRect b="55841"/>
          <a:stretch>
            <a:fillRect/>
          </a:stretch>
        </p:blipFill>
        <p:spPr>
          <a:xfrm>
            <a:off x="257129" y="257169"/>
            <a:ext cx="8628096" cy="257168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257010" y="2299755"/>
            <a:ext cx="8628096" cy="36415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57010" y="2542944"/>
            <a:ext cx="8628096" cy="1572361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57010" y="3600353"/>
            <a:ext cx="8626202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4" name="Grafik 43" descr="T_Logo_3c_Slogan_p_DE_1000%.emf"/>
          <p:cNvPicPr>
            <a:picLocks noChangeAspect="1"/>
          </p:cNvPicPr>
          <p:nvPr userDrawn="1"/>
        </p:nvPicPr>
        <p:blipFill>
          <a:blip r:embed="rId9"/>
          <a:srcRect r="67770"/>
          <a:stretch>
            <a:fillRect/>
          </a:stretch>
        </p:blipFill>
        <p:spPr>
          <a:xfrm>
            <a:off x="257131" y="4489011"/>
            <a:ext cx="965475" cy="397182"/>
          </a:xfrm>
          <a:prstGeom prst="rect">
            <a:avLst/>
          </a:prstGeom>
        </p:spPr>
      </p:pic>
      <p:pic>
        <p:nvPicPr>
          <p:cNvPr id="45" name="Grafik 44" descr="T_Logo_3c_Slogan_p_DE_1000%.emf"/>
          <p:cNvPicPr>
            <a:picLocks noChangeAspect="1"/>
          </p:cNvPicPr>
          <p:nvPr userDrawn="1"/>
        </p:nvPicPr>
        <p:blipFill>
          <a:blip r:embed="rId9"/>
          <a:srcRect l="40898"/>
          <a:stretch>
            <a:fillRect/>
          </a:stretch>
        </p:blipFill>
        <p:spPr>
          <a:xfrm>
            <a:off x="7114765" y="4489011"/>
            <a:ext cx="1770461" cy="39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14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835620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3780" y="4401334"/>
            <a:ext cx="9140220" cy="742166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solidFill>
                <a:srgbClr val="4B4B4B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36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205539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558"/>
            <a:ext cx="9144000" cy="514238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186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998573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2"/>
            <a:ext cx="9144000" cy="51435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88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659518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3" y="97"/>
            <a:ext cx="9143995" cy="514238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468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763203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95"/>
            <a:ext cx="9143998" cy="5142383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91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215664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96"/>
            <a:ext cx="9143998" cy="5142382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15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16055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hidden">
          <a:xfrm>
            <a:off x="3" y="95"/>
            <a:ext cx="9143995" cy="5142381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1071535"/>
            <a:ext cx="8628096" cy="180971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60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Struktur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612670"/>
              </p:ext>
            </p:extLst>
          </p:nvPr>
        </p:nvGraphicFramePr>
        <p:xfrm>
          <a:off x="1262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2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tt.mm.jjjj</a:t>
            </a:r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E20074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2"/>
            <a:ext cx="9145986" cy="51435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0" y="1262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257009" y="2709632"/>
            <a:ext cx="8628096" cy="1691703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eleGrotesk HEADLINE (Ultra)</a:t>
            </a:r>
            <a:br>
              <a:rPr lang="de-DE" dirty="0" smtClean="0"/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3-Zeilig</a:t>
            </a:r>
            <a:b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de-DE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in 40 (54) 66 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419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580267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51435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tt.mm.jjjj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>
                <a:solidFill>
                  <a:srgbClr val="4B4B4B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6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271786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30" y="200019"/>
            <a:ext cx="4258179" cy="6409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129" y="1171842"/>
            <a:ext cx="4258178" cy="322949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28694" y="2"/>
            <a:ext cx="4515307" cy="51435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209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099774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28814" y="200019"/>
            <a:ext cx="4258179" cy="6409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8812" y="1171842"/>
            <a:ext cx="4258178" cy="322949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2" y="2"/>
            <a:ext cx="4515307" cy="51435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181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939066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tt.mm.jjjj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>
                <a:solidFill>
                  <a:srgbClr val="4B4B4B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13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08840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9" y="200020"/>
            <a:ext cx="8628096" cy="40004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tt.mm.jjjj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>
                <a:solidFill>
                  <a:srgbClr val="4B4B4B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99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61777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7" y="200020"/>
            <a:ext cx="8628096" cy="40004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7128" y="1171842"/>
            <a:ext cx="8628096" cy="3229493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471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970652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129" y="1171842"/>
            <a:ext cx="4258178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8693" y="1171842"/>
            <a:ext cx="4256908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7861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940857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129" y="1171842"/>
            <a:ext cx="2799846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85756" y="1171842"/>
            <a:ext cx="2799846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171442" y="1171843"/>
            <a:ext cx="2799846" cy="32294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11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734918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130" y="1171842"/>
            <a:ext cx="2071314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8567" y="1171842"/>
            <a:ext cx="2071314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tt.mm.jjjj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rgbClr val="4B4B4B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/>
              <a:t>– Streng vertraulich, Vertraulich, Intern –     Autor / Thema der Präsentation 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2442848" y="1171843"/>
            <a:ext cx="2071314" cy="32294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6814287" y="1171842"/>
            <a:ext cx="2071314" cy="322949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272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07060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4470639"/>
            <a:ext cx="8651399" cy="570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011" y="1171841"/>
            <a:ext cx="4257533" cy="351426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628200" y="1171841"/>
            <a:ext cx="4257533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39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753057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4470639"/>
            <a:ext cx="8651399" cy="570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009" y="1171841"/>
            <a:ext cx="2799846" cy="351426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171382" y="1171841"/>
            <a:ext cx="2799846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85756" y="1171841"/>
            <a:ext cx="2799846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0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718881"/>
              </p:ext>
            </p:extLst>
          </p:nvPr>
        </p:nvGraphicFramePr>
        <p:xfrm>
          <a:off x="1263" y="1262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3" y="1262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4470639"/>
            <a:ext cx="8651399" cy="570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28" y="200020"/>
            <a:ext cx="8628096" cy="40004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011" y="1171841"/>
            <a:ext cx="2071314" cy="351426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442735" y="1171841"/>
            <a:ext cx="2071314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628198" y="1171841"/>
            <a:ext cx="2071314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6814417" y="1171841"/>
            <a:ext cx="2071314" cy="35142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11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50D42-C9CD-4801-B293-61D1F53EC57E}" type="datetimeFigureOut">
              <a:rPr lang="de-DE" smtClean="0"/>
              <a:t>12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63369283"/>
              </p:ext>
            </p:extLst>
          </p:nvPr>
        </p:nvGraphicFramePr>
        <p:xfrm>
          <a:off x="1261" y="1261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28" imgW="360" imgH="360" progId="TCLayout.ActiveDocument.1">
                  <p:embed/>
                </p:oleObj>
              </mc:Choice>
              <mc:Fallback>
                <p:oleObj name="think-cell Foli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261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257010" y="200020"/>
            <a:ext cx="8628096" cy="40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7129" y="1171544"/>
            <a:ext cx="8628096" cy="322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080686" y="4732170"/>
            <a:ext cx="491538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tt.mm.jjjj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95965" y="4732170"/>
            <a:ext cx="289766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938490" y="4732170"/>
            <a:ext cx="4118454" cy="2179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 smtClean="0">
                <a:solidFill>
                  <a:srgbClr val="4B4B4B"/>
                </a:solidFill>
              </a:rPr>
              <a:t>– Streng vertraulich, Vertraulich, Intern –     Autor / Thema der Präsentation </a:t>
            </a:r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9" name="Grafik 9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51" y="4686105"/>
            <a:ext cx="3168526" cy="28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674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898" y="3064782"/>
            <a:ext cx="8628096" cy="384080"/>
          </a:xfrm>
        </p:spPr>
        <p:txBody>
          <a:bodyPr/>
          <a:lstStyle/>
          <a:p>
            <a:r>
              <a:rPr lang="de-DE" dirty="0" smtClean="0"/>
              <a:t>Felix Burkhard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19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onclusion</a:t>
            </a:r>
            <a:r>
              <a:rPr lang="de-DE" dirty="0" smtClean="0"/>
              <a:t>:</a:t>
            </a:r>
            <a:endParaRPr lang="en-US" dirty="0" smtClean="0"/>
          </a:p>
          <a:p>
            <a:r>
              <a:rPr lang="en-US" dirty="0" smtClean="0"/>
              <a:t>Speechalyzer </a:t>
            </a:r>
            <a:r>
              <a:rPr lang="en-US" dirty="0"/>
              <a:t>is optimized to process large speech data sets with respect to transcription, labeling and annotation. 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Contact</a:t>
            </a:r>
            <a:r>
              <a:rPr lang="de-DE" dirty="0" smtClean="0"/>
              <a:t>:</a:t>
            </a:r>
          </a:p>
          <a:p>
            <a:r>
              <a:rPr lang="de-DE" dirty="0"/>
              <a:t>	</a:t>
            </a:r>
            <a:r>
              <a:rPr lang="de-DE" dirty="0" smtClean="0"/>
              <a:t>Felix.Burkhardt@telekom.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10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12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peechalyzer </a:t>
            </a:r>
            <a:r>
              <a:rPr lang="en-US" dirty="0"/>
              <a:t>is optimized to process large speech data sets with respect to transcription, labeling and annotation. </a:t>
            </a:r>
          </a:p>
          <a:p>
            <a:r>
              <a:rPr lang="en-US" dirty="0"/>
              <a:t>It is implemented as a client server based framework in </a:t>
            </a:r>
            <a:r>
              <a:rPr lang="en-US" dirty="0" smtClean="0"/>
              <a:t>Java</a:t>
            </a:r>
          </a:p>
          <a:p>
            <a:r>
              <a:rPr lang="en-US" dirty="0" smtClean="0"/>
              <a:t>Interfaces </a:t>
            </a:r>
            <a:r>
              <a:rPr lang="en-US" dirty="0"/>
              <a:t>software for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speech </a:t>
            </a:r>
            <a:r>
              <a:rPr lang="en-US" dirty="0"/>
              <a:t>recognition,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synthesis</a:t>
            </a:r>
            <a:r>
              <a:rPr lang="en-US" dirty="0"/>
              <a:t>,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speech </a:t>
            </a:r>
            <a:r>
              <a:rPr lang="en-US" dirty="0"/>
              <a:t>classification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quality </a:t>
            </a:r>
            <a:r>
              <a:rPr lang="en-US" dirty="0"/>
              <a:t>evaluatio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2</a:t>
            </a:fld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99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3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699542"/>
            <a:ext cx="5768975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68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4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760412"/>
            <a:ext cx="5776913" cy="362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5" name="Picture 3" descr="D:\workspace\Speechalyzer\docs\speechalyz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203597"/>
            <a:ext cx="4539743" cy="338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9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5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038" y="700088"/>
            <a:ext cx="5494337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47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6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843558"/>
            <a:ext cx="5738330" cy="355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321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7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649502"/>
            <a:ext cx="6357019" cy="385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8" name="Picture 4" descr="D:\workspace\Speechalyzer\docs\eva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843558"/>
            <a:ext cx="5147539" cy="3840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247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7128" y="1171842"/>
            <a:ext cx="1506560" cy="3229493"/>
          </a:xfrm>
        </p:spPr>
        <p:txBody>
          <a:bodyPr/>
          <a:lstStyle/>
          <a:p>
            <a:r>
              <a:rPr lang="de-DE" dirty="0" err="1" smtClean="0"/>
              <a:t>Configuration</a:t>
            </a:r>
            <a:endParaRPr lang="de-DE" dirty="0" smtClean="0"/>
          </a:p>
          <a:p>
            <a:r>
              <a:rPr lang="de-DE" dirty="0" smtClean="0"/>
              <a:t>Speechalyzer</a:t>
            </a:r>
          </a:p>
          <a:p>
            <a:r>
              <a:rPr lang="de-DE" dirty="0" smtClean="0"/>
              <a:t>(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erver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)</a:t>
            </a:r>
          </a:p>
          <a:p>
            <a:r>
              <a:rPr lang="de-DE" dirty="0" smtClean="0"/>
              <a:t>In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8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771550"/>
            <a:ext cx="3706035" cy="3684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67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echalyz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7128" y="1171842"/>
            <a:ext cx="1506560" cy="3229493"/>
          </a:xfrm>
        </p:spPr>
        <p:txBody>
          <a:bodyPr/>
          <a:lstStyle/>
          <a:p>
            <a:r>
              <a:rPr lang="de-DE" dirty="0" err="1" smtClean="0"/>
              <a:t>Configuration</a:t>
            </a:r>
            <a:endParaRPr lang="de-DE" dirty="0" smtClean="0"/>
          </a:p>
          <a:p>
            <a:r>
              <a:rPr lang="de-DE" dirty="0" err="1" smtClean="0"/>
              <a:t>Labeltool</a:t>
            </a:r>
            <a:endParaRPr lang="de-DE" dirty="0" smtClean="0"/>
          </a:p>
          <a:p>
            <a:r>
              <a:rPr lang="de-DE" dirty="0" smtClean="0"/>
              <a:t>(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ient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GUI)</a:t>
            </a:r>
          </a:p>
          <a:p>
            <a:r>
              <a:rPr lang="de-DE" dirty="0" err="1"/>
              <a:t>a</a:t>
            </a:r>
            <a:r>
              <a:rPr lang="de-DE" dirty="0" err="1" smtClean="0"/>
              <a:t>s</a:t>
            </a:r>
            <a:r>
              <a:rPr lang="de-DE" dirty="0" smtClean="0"/>
              <a:t> </a:t>
            </a:r>
            <a:r>
              <a:rPr lang="de-DE" dirty="0" err="1" smtClean="0"/>
              <a:t>applet</a:t>
            </a:r>
            <a:endParaRPr lang="de-DE" dirty="0" smtClean="0"/>
          </a:p>
          <a:p>
            <a:r>
              <a:rPr lang="de-DE" dirty="0" err="1" smtClean="0"/>
              <a:t>paramet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9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771550"/>
            <a:ext cx="6069014" cy="342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90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_MASTER_16-9_DE_20150828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16zu9_Chartpool_20150608.pptx" id="{B1452720-7520-4D9E-B9ED-20AEF7CACA91}" vid="{0A44F166-3C81-41C7-882D-66DB7ABEEA4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</Words>
  <Application>Microsoft Office PowerPoint</Application>
  <PresentationFormat>On-screen Show (16:9)</PresentationFormat>
  <Paragraphs>42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Larissa-Design</vt:lpstr>
      <vt:lpstr>T_MASTER_16-9_DE_20150828</vt:lpstr>
      <vt:lpstr>think-cell Folie</vt:lpstr>
      <vt:lpstr>Speechalyzer</vt:lpstr>
      <vt:lpstr>Speechalyzer</vt:lpstr>
      <vt:lpstr>Speechalyzer</vt:lpstr>
      <vt:lpstr>Speechalyzer</vt:lpstr>
      <vt:lpstr>Speechalyzer</vt:lpstr>
      <vt:lpstr>Speechalyzer</vt:lpstr>
      <vt:lpstr>Speechalyzer</vt:lpstr>
      <vt:lpstr>Speechalyzer</vt:lpstr>
      <vt:lpstr>Speechalyzer</vt:lpstr>
      <vt:lpstr>Speechalyz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echalyzer</dc:title>
  <dc:creator>Burkhardt.Felix</dc:creator>
  <cp:lastModifiedBy>burkhardt.felix</cp:lastModifiedBy>
  <cp:revision>9</cp:revision>
  <dcterms:created xsi:type="dcterms:W3CDTF">2016-01-12T11:55:47Z</dcterms:created>
  <dcterms:modified xsi:type="dcterms:W3CDTF">2016-01-12T13:46:04Z</dcterms:modified>
</cp:coreProperties>
</file>